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6" r:id="rId4"/>
  </p:sldMasterIdLst>
  <p:notesMasterIdLst>
    <p:notesMasterId r:id="rId6"/>
  </p:notesMasterIdLst>
  <p:handoutMasterIdLst>
    <p:handoutMasterId r:id="rId7"/>
  </p:handoutMasterIdLst>
  <p:sldIdLst>
    <p:sldId id="257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6386F6-F883-7FF7-2C25-DDE3719EA1ED}" name="Florian Kampfer" initials="FK" userId="S::fkampfer@think-cell.com::1b1e8d7c-2258-4c4a-8504-7d182935f2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7"/>
    <a:srgbClr val="000000"/>
    <a:srgbClr val="C52536"/>
    <a:srgbClr val="A5A5A5"/>
    <a:srgbClr val="444444"/>
    <a:srgbClr val="EAEAEA"/>
    <a:srgbClr val="C0C0C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1" autoAdjust="0"/>
    <p:restoredTop sz="94632" autoAdjust="0"/>
  </p:normalViewPr>
  <p:slideViewPr>
    <p:cSldViewPr snapToGrid="0">
      <p:cViewPr varScale="1">
        <p:scale>
          <a:sx n="76" d="100"/>
          <a:sy n="76" d="100"/>
        </p:scale>
        <p:origin x="56" y="7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664047151277013"/>
          <c:y val="5.9742647058823532E-2"/>
          <c:w val="0.79292730844793713"/>
          <c:h val="0.8805147058823529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val>
            <c:numRef>
              <c:f>Sheet1!$A$1:$C$1</c:f>
              <c:numCache>
                <c:formatCode>General</c:formatCode>
                <c:ptCount val="3"/>
                <c:pt idx="0">
                  <c:v>55.000000000000007</c:v>
                </c:pt>
                <c:pt idx="1">
                  <c:v>82</c:v>
                </c:pt>
                <c:pt idx="2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8C-4BB8-973E-D46FE28FFF3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val>
            <c:numRef>
              <c:f>Sheet1!$A$2:$C$2</c:f>
              <c:numCache>
                <c:formatCode>General</c:formatCode>
                <c:ptCount val="3"/>
                <c:pt idx="0">
                  <c:v>26</c:v>
                </c:pt>
                <c:pt idx="1">
                  <c:v>5.0000000000000044</c:v>
                </c:pt>
                <c:pt idx="2">
                  <c:v>7.9999999999999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8C-4BB8-973E-D46FE28FFF3D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val>
            <c:numRef>
              <c:f>Sheet1!$A$3:$C$3</c:f>
              <c:numCache>
                <c:formatCode>General</c:formatCode>
                <c:ptCount val="3"/>
                <c:pt idx="0">
                  <c:v>18.999999999999993</c:v>
                </c:pt>
                <c:pt idx="1">
                  <c:v>13</c:v>
                </c:pt>
                <c:pt idx="2">
                  <c:v>20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8C-4BB8-973E-D46FE28FFF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5051536"/>
        <c:axId val="1"/>
      </c:areaChart>
      <c:catAx>
        <c:axId val="255051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051536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2.5742574257425741E-2"/>
          <c:w val="0.95098963242224321"/>
          <c:h val="0.948514851485148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2.9</c:v>
                </c:pt>
                <c:pt idx="1">
                  <c:v>21.8</c:v>
                </c:pt>
                <c:pt idx="2">
                  <c:v>3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EA-4672-A8D5-A92E2F5FE19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3.8999999999999986</c:v>
                </c:pt>
                <c:pt idx="2">
                  <c:v>7.2000000000000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EA-4672-A8D5-A92E2F5FE198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3.5</c:v>
                </c:pt>
                <c:pt idx="1">
                  <c:v>5.3000000000000007</c:v>
                </c:pt>
                <c:pt idx="2">
                  <c:v>4.1000000000000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EA-4672-A8D5-A92E2F5FE1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56589455"/>
        <c:axId val="1"/>
      </c:barChart>
      <c:catAx>
        <c:axId val="13565894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4000000000000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65894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24-11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4F66BFA0-1F61-4EBB-B1B0-9EBAB581B69A}" type="datetimeFigureOut">
              <a:rPr lang="en-US" smtClean="0"/>
              <a:pPr/>
              <a:t>2024-11-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510C2A9-B7BA-4B07-BD2D-35895E45D25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34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256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195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2F25BEB-32C4-0492-2475-F1C4B17AEAE5}"/>
              </a:ext>
            </a:extLst>
          </p:cNvPr>
          <p:cNvGrpSpPr/>
          <p:nvPr userDrawn="1"/>
        </p:nvGrpSpPr>
        <p:grpSpPr>
          <a:xfrm>
            <a:off x="0" y="6530229"/>
            <a:ext cx="12191999" cy="327771"/>
            <a:chOff x="0" y="6530229"/>
            <a:chExt cx="12191999" cy="3277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DC53A8D-FE22-665F-2404-A4CD8E92E2A3}"/>
                </a:ext>
              </a:extLst>
            </p:cNvPr>
            <p:cNvSpPr/>
            <p:nvPr userDrawn="1"/>
          </p:nvSpPr>
          <p:spPr>
            <a:xfrm>
              <a:off x="0" y="6530229"/>
              <a:ext cx="5119084" cy="327771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768E3BD-23D0-BFE8-A6E8-4B7A30A39183}"/>
                </a:ext>
              </a:extLst>
            </p:cNvPr>
            <p:cNvSpPr/>
            <p:nvPr userDrawn="1"/>
          </p:nvSpPr>
          <p:spPr>
            <a:xfrm flipH="1">
              <a:off x="2935679" y="6530400"/>
              <a:ext cx="9256320" cy="327600"/>
            </a:xfrm>
            <a:custGeom>
              <a:avLst/>
              <a:gdLst>
                <a:gd name="connsiteX0" fmla="*/ 8923493 w 9256320"/>
                <a:gd name="connsiteY0" fmla="*/ 0 h 327771"/>
                <a:gd name="connsiteX1" fmla="*/ 0 w 9256320"/>
                <a:gd name="connsiteY1" fmla="*/ 0 h 327771"/>
                <a:gd name="connsiteX2" fmla="*/ 0 w 9256320"/>
                <a:gd name="connsiteY2" fmla="*/ 327770 h 327771"/>
                <a:gd name="connsiteX3" fmla="*/ 6940998 w 9256320"/>
                <a:gd name="connsiteY3" fmla="*/ 327770 h 327771"/>
                <a:gd name="connsiteX4" fmla="*/ 6940998 w 9256320"/>
                <a:gd name="connsiteY4" fmla="*/ 327771 h 327771"/>
                <a:gd name="connsiteX5" fmla="*/ 7199969 w 9256320"/>
                <a:gd name="connsiteY5" fmla="*/ 327771 h 327771"/>
                <a:gd name="connsiteX6" fmla="*/ 7732463 w 9256320"/>
                <a:gd name="connsiteY6" fmla="*/ 327771 h 327771"/>
                <a:gd name="connsiteX7" fmla="*/ 9256320 w 9256320"/>
                <a:gd name="connsiteY7" fmla="*/ 327771 h 327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56320" h="327771">
                  <a:moveTo>
                    <a:pt x="8923493" y="0"/>
                  </a:moveTo>
                  <a:lnTo>
                    <a:pt x="0" y="0"/>
                  </a:lnTo>
                  <a:lnTo>
                    <a:pt x="0" y="327770"/>
                  </a:lnTo>
                  <a:lnTo>
                    <a:pt x="6940998" y="327770"/>
                  </a:lnTo>
                  <a:lnTo>
                    <a:pt x="6940998" y="327771"/>
                  </a:lnTo>
                  <a:lnTo>
                    <a:pt x="7199969" y="327771"/>
                  </a:lnTo>
                  <a:lnTo>
                    <a:pt x="7732463" y="327771"/>
                  </a:lnTo>
                  <a:lnTo>
                    <a:pt x="9256320" y="3277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3012017-F32E-F3DC-5C0D-99A4844BE5F1}"/>
              </a:ext>
            </a:extLst>
          </p:cNvPr>
          <p:cNvGrpSpPr/>
          <p:nvPr userDrawn="1"/>
        </p:nvGrpSpPr>
        <p:grpSpPr>
          <a:xfrm>
            <a:off x="10641600" y="258578"/>
            <a:ext cx="1177863" cy="429366"/>
            <a:chOff x="10641600" y="258578"/>
            <a:chExt cx="1177863" cy="42936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80BEADF-7CC4-9AAE-89D1-B18369F9BC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82550" y="352890"/>
              <a:ext cx="1036913" cy="240609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6371387-1DE5-15CB-052E-C6056403E1B2}"/>
                </a:ext>
              </a:extLst>
            </p:cNvPr>
            <p:cNvCxnSpPr/>
            <p:nvPr userDrawn="1"/>
          </p:nvCxnSpPr>
          <p:spPr>
            <a:xfrm>
              <a:off x="10641600" y="258578"/>
              <a:ext cx="0" cy="429366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373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27025" indent="-14922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3.emf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chart" Target="../charts/chart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slideLayout" Target="../slideLayouts/slideLayout1.xml"/><Relationship Id="rId30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6418CCA-5FC7-BAA6-C9D7-185BE3E26C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82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9" imgH="349" progId="TCLayout.ActiveDocument.1">
                  <p:embed/>
                </p:oleObj>
              </mc:Choice>
              <mc:Fallback>
                <p:oleObj name="think-cell Slide" r:id="rId28" imgW="349" imgH="34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821452-EE0F-1C06-E94E-27DFF0448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D179BABC-6C24-4F7D-8587-A3202766928B}" type="thinkcell&lt;?xml version=&quot;1.0&quot; encoding=&quot;UTF-16&quot; standalone=&quot;yes&quot;?&gt;&lt;root reqver=&quot;28224&quot;&gt;&lt;version val=&quot;35602&quot;/&gt;&lt;PersistentType&gt;&lt;m_varval type=&quot;5&quot;&gt;&lt;/m_varval&gt;&lt;m_prec&gt;&lt;m_yearfmt&gt;&lt;begin val=&quot;0&quot;/&gt;&lt;end val=&quot;4&quot;/&gt;&lt;/m_yearfmt&gt;&lt;/m_prec&gt;&lt;m_bUseExcelFont val=&quot;0&quot;/&gt;&lt;m_bUseExcelFontColor val=&quot;0&quot;/&gt;&lt;m_strName&gt;SlideTitle&lt;/m_strName&gt;&lt;/PersistentType&gt;&lt;/root&gt;">
              <a:rPr lang="en-US" altLang="en-US" smtClean="0">
                <a:effectLst/>
                <a:latin typeface="+mn-lt"/>
              </a:rPr>
              <a:pPr/>
              <a:t>&lt;SlideTitle&gt;</a:t>
            </a:fld>
            <a:endParaRPr lang="en-US" dirty="0">
              <a:latin typeface="+mn-lt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72C8BC0-23BC-5411-A13B-B2DF34D174F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997926"/>
              </p:ext>
            </p:extLst>
          </p:nvPr>
        </p:nvGraphicFramePr>
        <p:xfrm>
          <a:off x="1174750" y="1804988"/>
          <a:ext cx="4040188" cy="34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7256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6A944DE-7F51-407F-BA89-F17BD5A79B02}" type="datetime'''''''''''''''''''''''''''''2''''''''''''''''02''2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3274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03B9E00-FC56-4E5C-9904-CE8F6DCE5803}" type="datetime'''''''''''''''''''''''''''2''''''0''''2''3''''''''''''''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929188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9465A7C-D069-4FC8-B6F6-00DCCB2933E9}" type="datetime'2''''''''''''''''0''''''''''''2''''''''4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06AFAE5-41EA-60FC-3EB6-5E68FDF4683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998663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77027D-0C0D-3C2A-60CE-1CAE6501C18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052763" y="553402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196F81-6805-37CC-997A-BFAAA4354BB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106863" y="553402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00288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C4D8AD15-7C9B-4A73-BE9B-DE5E7AAD64A3}" type="datetime'Se''''''''''''r''''''''''''''''''''''''''ie''''''''s'' ''''1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54388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6DAC09A7-D1AE-4769-948B-892F5C11925B}" type="datetime'''''Se''''ri''''''''e''''''s'''''''''''''''''' ''2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408488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8536E166-0A46-4E32-9C9A-38E5D75B9A6F}" type="datetime'''''S''e''''''''''''ri''''''''''''''''e''''s'''' ''3''''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 dirty="0">
              <a:solidFill>
                <a:schemeClr val="tx2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F028845-0D4C-11F6-60E7-6E4D382FD45A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17028901"/>
              </p:ext>
            </p:extLst>
          </p:nvPr>
        </p:nvGraphicFramePr>
        <p:xfrm>
          <a:off x="6977063" y="1928813"/>
          <a:ext cx="3368675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389813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4C3953-7EE9-42D7-8B16-048E0AA3DFF0}" type="datetime'''''2''''''0''''''''2''''''''''''''''2'''''''''''''">
              <a:rPr lang="en-US" altLang="en-US" sz="1400" smtClean="0">
                <a:solidFill>
                  <a:schemeClr val="tx2"/>
                </a:solidFill>
              </a:rPr>
              <a:pPr/>
              <a:t>20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582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E8EFF53F-771E-439A-A52F-C0D606E58A10}" type="datetime'''''''''''''''''''''''''''2''''0''''''''''''''''''''''2''3'''">
              <a:rPr lang="en-US" altLang="en-US" sz="1400" smtClean="0">
                <a:solidFill>
                  <a:schemeClr val="tx2"/>
                </a:solidFill>
              </a:rPr>
              <a:pPr/>
              <a:t>202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525000" y="5111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0159AE26-FACE-4A94-853B-784C4286B43C}" type="datetime'''''''''''2''0''''''''2''''''''4'''''''''''">
              <a:rPr lang="en-US" altLang="en-US" sz="1400" smtClean="0">
                <a:solidFill>
                  <a:schemeClr val="tx2"/>
                </a:solidFill>
              </a:rPr>
              <a:pPr/>
              <a:t>2024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469188" y="34051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50E51D28-8AD3-47EC-9FCD-AB37EA83324A}" type="datetime'''''''''''''''''''''22''''''''''''''''''''''''''''''''''''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537575" y="27828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4CC2B58E-9E32-4A2A-8ED2-7F28F0ACCABD}" type="datetime'''''''''''''3''''''''1''''''''''''''''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604375" y="17732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33DFCD3-3B9F-4F5D-9658-02C5C181B571}" type="datetime'''''''''4''''''''''''''''''''''6''''''''''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9089BB3-4BF5-870D-819F-35C54BBB48A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131050" y="55340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83B1A2C-D781-7622-D495-0B332425B10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185150" y="553402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38B303A-D188-BD37-59F4-04FCF23F108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239250" y="553402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4326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9207F168-992B-49E0-9AFC-1588AAAA9ED5}" type="datetime'''''''''S''''''''''e''r''ie''''''s'''''' ''1'''">
              <a:rPr lang="en-US" altLang="en-US" sz="1400" smtClean="0">
                <a:solidFill>
                  <a:srgbClr val="000000"/>
                </a:solidFill>
              </a:rPr>
              <a:pPr/>
              <a:t>Series 1</a:t>
            </a:fld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4867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3F5C0C4E-6233-431D-A86F-A56270930540}" type="datetime'''''''S''e''r''''''i''''''es ''''''2''''''''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540875" y="5529263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930DF6B5-A7AB-4B21-A86E-3EC5F9308070}" type="datetime'''''''Se''''r''''''i''''''''''''''''''''''es'''''' 3'''''''">
              <a:rPr lang="en-US" altLang="en-US" sz="1400" smtClean="0">
                <a:solidFill>
                  <a:schemeClr val="tx2"/>
                </a:solidFill>
                <a:effectLst/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9288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1588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791F22B0-D88B-4FAE-98AC-1B214D936099}" type="thinkcell&lt;?xml version=&quot;1.0&quot; encoding=&quot;UTF-16&quot; standalone=&quot;yes&quot;?&gt;&lt;root reqver=&quot;28224&quot;&gt;&lt;version val=&quot;35602&quot;/&gt;&lt;PersistentType&gt;&lt;m_varval type=&quot;5&quot;&gt;&lt;/m_varval&gt;&lt;m_prec&gt;&lt;m_yearfmt&gt;&lt;begin val=&quot;0&quot;/&gt;&lt;end val=&quot;4&quot;/&gt;&lt;/m_yearfmt&gt;&lt;/m_prec&gt;&lt;m_bUseExcelFont val=&quot;0&quot;/&gt;&lt;m_bUseExcelFontColor val=&quot;0&quot;/&gt;&lt;m_strName&gt;LeftChartTitle&lt;/m_strName&gt;&lt;/PersistentType&gt;&lt;/root&gt;">
              <a:rPr lang="en-US" altLang="en-US" smtClean="0">
                <a:solidFill>
                  <a:schemeClr val="tx2"/>
                </a:solidFill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&lt;LeftChartTitle&gt;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BCD959A9-1708-9CF4-114D-C95D3A9E75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059613" y="1290638"/>
            <a:ext cx="3203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27A72158-5174-49B9-87E9-7E2650047B8D}" type="thinkcell&lt;?xml version=&quot;1.0&quot; encoding=&quot;UTF-16&quot; standalone=&quot;yes&quot;?&gt;&lt;root reqver=&quot;28224&quot;&gt;&lt;version val=&quot;35602&quot;/&gt;&lt;PersistentType&gt;&lt;m_varval type=&quot;5&quot;&gt;&lt;/m_varval&gt;&lt;m_prec&gt;&lt;m_yearfmt&gt;&lt;begin val=&quot;0&quot;/&gt;&lt;end val=&quot;4&quot;/&gt;&lt;/m_yearfmt&gt;&lt;/m_prec&gt;&lt;m_bUseExcelFont val=&quot;0&quot;/&gt;&lt;m_bUseExcelFontColor val=&quot;0&quot;/&gt;&lt;m_strName&gt;RightChartTitle&lt;/m_strName&gt;&lt;/PersistentType&gt;&lt;/root&gt;">
              <a:rPr lang="en-US" altLang="en-US" smtClean="0">
                <a:solidFill>
                  <a:schemeClr val="tx2"/>
                </a:solidFill>
              </a:rPr>
              <a:pPr/>
              <a:t>&lt;RightChartTitle&gt;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20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THINKCELLUNDODONOTDELETE" val="0"/>
  <p:tag name="THINKCELLPRESENTATIONDONOTDELETE" val="&lt;?xml version=&quot;1.0&quot; encoding=&quot;UTF-16&quot; standalone=&quot;yes&quot;?&gt;&lt;root reqver=&quot;28224&quot;&gt;&lt;version val=&quot;3560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dxM5ukYVlrEsZqW0H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DTj0IWq6yUdqIaK8_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_b73Ys6iA1bNd0Pp9W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70hSFTFFAkUCUPqcy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MtfMZfFR77YM_WlRc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hcepSycc6zmS5L8SJ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IIN24FxJUJf5zhlUB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upImP14Tq9rvg4ui4S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.BKVzkUcJA6TxuGK6Z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f1RXFODE1KmisFJWF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pmcw4I0EwPStmvc.IR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YjdqYCUXm7zKAh_hM6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ovSePTgH0HutpLx7m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UWwL6UGD9tigoBAhwt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nCI5IndJwnUbpjSsEv7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knN0Av.laR5BuMbNm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N1w_l1qpALveH_p5pc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g7FstWBiF2UhYKKJnx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2Eq8VHa7RZLyINbkqz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D8g1tluyZJ17cb07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9QEKNBaLF8_kijQjA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5mOPZjYEOZrD5JMLu5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q.gFwZ6cy0KdjFA_J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fLdxlJE4hcWNQMYZ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FTCWRCuFPEXvkjbXWuPQ"/>
</p:tagLst>
</file>

<file path=ppt/theme/theme1.xml><?xml version="1.0" encoding="utf-8"?>
<a:theme xmlns:a="http://schemas.openxmlformats.org/drawingml/2006/main" name="think-cell 2024">
  <a:themeElements>
    <a:clrScheme name="Custom 23">
      <a:dk1>
        <a:sysClr val="windowText" lastClr="000000"/>
      </a:dk1>
      <a:lt1>
        <a:sysClr val="window" lastClr="FFFFFF"/>
      </a:lt1>
      <a:dk2>
        <a:srgbClr val="444444"/>
      </a:dk2>
      <a:lt2>
        <a:srgbClr val="EAEAEA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777777"/>
          </a:solidFill>
        </a:ln>
      </a:spPr>
      <a:bodyPr lIns="36000" tIns="36000" rIns="36000" bIns="36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77777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c template 2024.pptx" id="{41AF45B7-E58A-4964-942E-E1FD5E627DAB}" vid="{01A9D26A-1A55-414A-AB1C-A8B319AF91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59D86B7DE503449490ABD2357F36ED" ma:contentTypeVersion="11" ma:contentTypeDescription="Create a new document." ma:contentTypeScope="" ma:versionID="ff3686331224cfeb2f0490fcf60a21f8">
  <xsd:schema xmlns:xsd="http://www.w3.org/2001/XMLSchema" xmlns:xs="http://www.w3.org/2001/XMLSchema" xmlns:p="http://schemas.microsoft.com/office/2006/metadata/properties" xmlns:ns2="a200cd9b-af9f-4895-915b-682a20ddc275" xmlns:ns3="3a128173-af0f-47db-b59a-3b587c519afd" targetNamespace="http://schemas.microsoft.com/office/2006/metadata/properties" ma:root="true" ma:fieldsID="90e01fc446f41e860326a4dd628c68e6" ns2:_="" ns3:_="">
    <xsd:import namespace="a200cd9b-af9f-4895-915b-682a20ddc275"/>
    <xsd:import namespace="3a128173-af0f-47db-b59a-3b587c519a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00cd9b-af9f-4895-915b-682a20ddc2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128173-af0f-47db-b59a-3b587c519af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eb193d8-7aa1-4da9-83b8-5dd33688a9d3}" ma:internalName="TaxCatchAll" ma:showField="CatchAllData" ma:web="3a128173-af0f-47db-b59a-3b587c519a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a128173-af0f-47db-b59a-3b587c519afd" xsi:nil="true"/>
    <lcf76f155ced4ddcb4097134ff3c332f xmlns="a200cd9b-af9f-4895-915b-682a20ddc27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7D8999C-1797-48CC-9209-81F5AFDDAC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00cd9b-af9f-4895-915b-682a20ddc275"/>
    <ds:schemaRef ds:uri="3a128173-af0f-47db-b59a-3b587c519a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239F5EF-3BC7-4D8D-A836-281F968EEBAE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864686ff-c528-4121-8c14-dfe2dfe54fd3"/>
    <ds:schemaRef ds:uri="6dd700bd-da09-4649-9444-0dda6d878ea0"/>
    <ds:schemaRef ds:uri="3a128173-af0f-47db-b59a-3b587c519afd"/>
    <ds:schemaRef ds:uri="a200cd9b-af9f-4895-915b-682a20ddc275"/>
  </ds:schemaRefs>
</ds:datastoreItem>
</file>

<file path=customXml/itemProps3.xml><?xml version="1.0" encoding="utf-8"?>
<ds:datastoreItem xmlns:ds="http://schemas.openxmlformats.org/officeDocument/2006/customXml" ds:itemID="{6700B150-5000-4C50-84F4-C0ADDCA858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ink-cell corporate template</Template>
  <TotalTime>47</TotalTime>
  <Words>18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Symbol</vt:lpstr>
      <vt:lpstr>think-cell 2024</vt:lpstr>
      <vt:lpstr>think-cell Slide</vt:lpstr>
      <vt:lpstr>&lt;SlideTitle&gt;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onwyn Frey</dc:creator>
  <cp:lastModifiedBy>Bronwyn Frey</cp:lastModifiedBy>
  <cp:revision>9</cp:revision>
  <dcterms:created xsi:type="dcterms:W3CDTF">2024-11-22T16:33:01Z</dcterms:created>
  <dcterms:modified xsi:type="dcterms:W3CDTF">2024-11-22T19:0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59D86B7DE503449490ABD2357F36ED</vt:lpwstr>
  </property>
  <property fmtid="{D5CDD505-2E9C-101B-9397-08002B2CF9AE}" pid="3" name="MediaServiceImageTags">
    <vt:lpwstr/>
  </property>
</Properties>
</file>